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9144000" cy="6858000" type="screen4x3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/>
    <p:restoredTop sz="94707"/>
  </p:normalViewPr>
  <p:slideViewPr>
    <p:cSldViewPr snapToObjects="1">
      <p:cViewPr varScale="1">
        <p:scale>
          <a:sx n="90" d="100"/>
          <a:sy n="90" d="100"/>
        </p:scale>
        <p:origin x="72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6.01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7920364" cy="192360"/>
          </a:xfr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27647"/>
            <a:ext cx="2057404" cy="530353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289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7920364" cy="192360"/>
          </a:xfr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6327647"/>
            <a:ext cx="2057404" cy="530353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1429020"/>
            <a:ext cx="80640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912859"/>
            <a:ext cx="8064000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540000" y="18000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lassholder for bunntekst 18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ARRANGEMENT DATO STED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289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Undertit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ARRANGEMENT DATO STED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294967295"/>
          </p:nvPr>
        </p:nvSpPr>
        <p:spPr>
          <a:xfrm>
            <a:off x="7038975" y="6359525"/>
            <a:ext cx="2105025" cy="122238"/>
          </a:xfrm>
        </p:spPr>
        <p:txBody>
          <a:bodyPr/>
          <a:lstStyle/>
          <a:p>
            <a:fld id="{0AE548F1-6D36-4902-B57A-69A845AA9B7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ARRANGEMENT DATO STE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5594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72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789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1895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924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No_logo.potx" id="{008BA1B6-6421-4360-9471-6E9AAAF5A049}" vid="{7731B769-F577-431B-90C4-8FCDDE52CC3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</Words>
  <Application>Microsoft Macintosh PowerPoint</Application>
  <PresentationFormat>Skjermfremvisning (4:3)</PresentationFormat>
  <Paragraphs>11</Paragraphs>
  <Slides>10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4" baseType="lpstr">
      <vt:lpstr>Arial</vt:lpstr>
      <vt:lpstr>Calibri</vt:lpstr>
      <vt:lpstr>blank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Gudrun Sylte</dc:creator>
  <cp:lastModifiedBy>Gudrun Sylte</cp:lastModifiedBy>
  <cp:revision>1</cp:revision>
  <dcterms:created xsi:type="dcterms:W3CDTF">2018-01-26T12:36:35Z</dcterms:created>
  <dcterms:modified xsi:type="dcterms:W3CDTF">2018-01-26T12:36:54Z</dcterms:modified>
</cp:coreProperties>
</file>